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2"/>
  </p:notesMasterIdLst>
  <p:handoutMasterIdLst>
    <p:handoutMasterId r:id="rId43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922" r:id="rId28"/>
    <p:sldId id="806" r:id="rId29"/>
    <p:sldId id="866" r:id="rId30"/>
    <p:sldId id="777" r:id="rId31"/>
    <p:sldId id="756" r:id="rId32"/>
    <p:sldId id="834" r:id="rId33"/>
    <p:sldId id="912" r:id="rId34"/>
    <p:sldId id="812" r:id="rId35"/>
    <p:sldId id="813" r:id="rId36"/>
    <p:sldId id="879" r:id="rId37"/>
    <p:sldId id="836" r:id="rId38"/>
    <p:sldId id="923" r:id="rId39"/>
    <p:sldId id="924" r:id="rId40"/>
    <p:sldId id="907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&amp; FDOC Checklist" id="{EC1BE8DF-736F-034F-80B5-1550CFE236A2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IA with LMS" id="{7D808E64-C6DA-4A55-8CE0-47A491B9FF7F}">
          <p14:sldIdLst>
            <p14:sldId id="834"/>
            <p14:sldId id="912"/>
            <p14:sldId id="812"/>
            <p14:sldId id="813"/>
            <p14:sldId id="879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8D5C1E-D58F-D748-6B2C-66AC274DB1A7}" v="2" dt="2025-05-21T21:45:33.018"/>
    <p1510:client id="{2F3A5995-C03E-E544-F3B1-DDBF5A8EC6D5}" v="57" dt="2025-05-21T21:26:39.039"/>
    <p1510:client id="{CA5C4989-0DF3-42EC-A6F7-91BD864B20CF}" v="138" dt="2025-05-22T17:01:07.410"/>
    <p1510:client id="{E4ACB11A-EE91-5BE6-10A4-E5979D1258E9}" v="3" dt="2025-05-22T17:55:41.5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8"/>
  </p:normalViewPr>
  <p:slideViewPr>
    <p:cSldViewPr snapToGrid="0">
      <p:cViewPr varScale="1">
        <p:scale>
          <a:sx n="104" d="100"/>
          <a:sy n="104" d="100"/>
        </p:scale>
        <p:origin x="232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theme" Target="theme/theme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A7942-6653-E259-10C4-22F3E21D2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A7D8C9-6D39-787E-9937-A0FDECA1F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690215-9D81-9BCA-5D85-4BD30E590E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98B6-B218-62EC-3085-94EFEFFE3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0696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07418-27CF-A0E4-173A-66F2E6A251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0752D9-36E9-ADD0-C44D-848FD6CF75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E521EB-2352-6BD8-1357-233D690F4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8F4BF6-1435-FD9C-2948-D58C4D627D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8528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576B2-20F3-EF43-1428-3A32E4FB3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AF38F2-3EB2-9B25-F062-D3963356A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05638E-1D10-02A1-14C6-D86514816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61FE80-16EE-63FC-5F9D-0B3EC2D715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432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786C9-34D5-A334-B076-7E6BF7119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7E304-AB04-B3DB-AF2A-4AB6552EA1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D631E5-E2BC-349D-6748-68597C016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90551-7B4B-097E-768D-D595D8394B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859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483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383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07045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84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068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5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30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8.png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14926E6-5FA9-C2FB-6C9E-2D0D9D2F1B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357" y="6858000"/>
            <a:ext cx="2308129" cy="194890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onnect Student Suppo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81500" y="1307100"/>
            <a:ext cx="7018338" cy="528320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2400" b="1">
                <a:solidFill>
                  <a:schemeClr val="tx2"/>
                </a:solidFill>
                <a:latin typeface="Arial"/>
                <a:cs typeface="Arial"/>
              </a:rPr>
              <a:t>Connect Student Support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Learn how to register, navigate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Connect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, use </a:t>
            </a:r>
            <a:r>
              <a:rPr lang="en-US" err="1">
                <a:solidFill>
                  <a:srgbClr val="000000"/>
                </a:solidFill>
                <a:latin typeface="Arial"/>
                <a:cs typeface="Arial"/>
              </a:rPr>
              <a:t>SmartBook</a:t>
            </a:r>
            <a:r>
              <a:rPr lang="en-US" sz="1400" b="1" baseline="30000">
                <a:solidFill>
                  <a:srgbClr val="000000"/>
                </a:solidFill>
                <a:latin typeface="Arial"/>
                <a:cs typeface="Arial"/>
              </a:rPr>
              <a:t>®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, download the </a:t>
            </a:r>
            <a:r>
              <a:rPr lang="en-US" err="1">
                <a:solidFill>
                  <a:srgbClr val="000000"/>
                </a:solidFill>
                <a:latin typeface="Arial"/>
                <a:cs typeface="Arial"/>
              </a:rPr>
              <a:t>ReadAnywhere</a:t>
            </a:r>
            <a:r>
              <a:rPr lang="en-US" sz="1400" b="1" baseline="30000">
                <a:solidFill>
                  <a:srgbClr val="000000"/>
                </a:solidFill>
                <a:latin typeface="Arial"/>
                <a:cs typeface="Arial"/>
              </a:rPr>
              <a:t>®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 app, and more!</a:t>
            </a:r>
            <a:br>
              <a:rPr lang="en-US">
                <a:latin typeface="Arial"/>
                <a:cs typeface="Arial"/>
              </a:rPr>
            </a:br>
            <a:br>
              <a:rPr lang="en-US" b="0" i="0">
                <a:effectLst/>
              </a:rPr>
            </a:b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</a:t>
            </a:r>
            <a:r>
              <a:rPr lang="en-US" b="1" i="0">
                <a:solidFill>
                  <a:schemeClr val="tx2"/>
                </a:solidFill>
                <a:effectLst/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/highered/support/student</a:t>
            </a:r>
            <a:r>
              <a:rPr lang="en-US" b="1" i="0">
                <a:solidFill>
                  <a:schemeClr val="tx2"/>
                </a:solidFill>
                <a:effectLst/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nect.html</a:t>
            </a:r>
            <a:endParaRPr lang="en-US" b="1">
              <a:solidFill>
                <a:schemeClr val="tx2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Plus, access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technical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uppor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via chat </a:t>
            </a:r>
            <a:br>
              <a:rPr lang="en-US">
                <a:solidFill>
                  <a:srgbClr val="000000"/>
                </a:solidFill>
              </a:rPr>
            </a:b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or phone at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(800) 331-5094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1800" b="1" i="0">
                <a:solidFill>
                  <a:schemeClr val="tx2"/>
                </a:solidFill>
                <a:effectLst/>
                <a:latin typeface="Arial"/>
                <a:cs typeface="Arial"/>
              </a:rPr>
              <a:t>Hours of Operation:</a:t>
            </a:r>
            <a:endParaRPr lang="en-US" b="1">
              <a:solidFill>
                <a:schemeClr val="tx2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Sun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Monday–Thursday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: 24 hours</a:t>
            </a:r>
            <a:endParaRPr lang="en-US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Fri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9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  <a:endParaRPr lang="en-US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Satur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0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8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7B711-4DBF-9243-6526-349BEE169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3F5F1-3953-7077-094E-18C2D32656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6BE680-F286-5F0A-67B2-3AC64F79525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A Registration: Conn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63B5C2C-DB9D-0544-7D71-0F42C15188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EFFD9DE-0378-9FA1-EC12-952CED01FE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DEC2852-0BC7-7C70-FE04-E31FABBB6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E6624F-BBCD-4210-2044-75519B896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5233" b="246"/>
          <a:stretch/>
        </p:blipFill>
        <p:spPr>
          <a:xfrm>
            <a:off x="3884263" y="3002037"/>
            <a:ext cx="4834427" cy="3846317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D73D54A7-768E-BE61-DC7B-3670508B41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15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EF58F-6930-7FF8-294B-327BF3E4B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8DF39E-BC7E-5118-EF12-D1F2C1931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Connect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D2L Brightspa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CF37F4-8857-047D-84C6-B0F6A41C2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487279-82C4-E88B-F5AF-A6BCEE3A34C3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9BF555-4549-513A-D079-99692751C789}"/>
              </a:ext>
            </a:extLst>
          </p:cNvPr>
          <p:cNvSpPr txBox="1"/>
          <p:nvPr/>
        </p:nvSpPr>
        <p:spPr>
          <a:xfrm>
            <a:off x="4500973" y="2094263"/>
            <a:ext cx="679975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To access McGraw Hill Connect, select a Connect assignment in the Content area of your D2L Brightspace course. On the next screen, click to launch it.</a:t>
            </a:r>
            <a:endParaRPr lang="en-US" dirty="0"/>
          </a:p>
        </p:txBody>
      </p:sp>
      <p:pic>
        <p:nvPicPr>
          <p:cNvPr id="5" name="Picture 7" descr="D2L course screenshot showing the student's Connect assignment. Yellow rectangle highlights the assignment.">
            <a:extLst>
              <a:ext uri="{FF2B5EF4-FFF2-40B4-BE49-F238E27FC236}">
                <a16:creationId xmlns:a16="http://schemas.microsoft.com/office/drawing/2014/main" id="{C8853947-EAC9-67AA-DEEA-E76017CB7A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0491" y="2871641"/>
            <a:ext cx="4561610" cy="26626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0B5A38-0497-C189-0A37-07BAB22EA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9851" y="4494397"/>
            <a:ext cx="1688275" cy="39600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2" name="Picture 11" descr="Connect assignment screenshot with the launch button.">
            <a:extLst>
              <a:ext uri="{FF2B5EF4-FFF2-40B4-BE49-F238E27FC236}">
                <a16:creationId xmlns:a16="http://schemas.microsoft.com/office/drawing/2014/main" id="{04BF9BE0-D63B-7564-2044-61886CCE446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8000037" y="4802235"/>
            <a:ext cx="3723478" cy="17046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079800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F83A8-93FC-4E3C-6772-2E56F4CC8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D90825-017A-1D39-9535-98BFEE4605E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2B2D3-D761-B469-0333-E3A8BF884F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8BD002B-DC8B-314A-FB3E-248C598D2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1BD8B1-01DB-4D9C-1BF7-BD02B422764A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email address and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If you receive the message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You have a Connect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Forgot your password?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*Depending on your school you might skip this step. That’s ok! Just continue the process from that step to the end. </a:t>
            </a:r>
            <a:endParaRPr lang="en-US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6" name="Picture 5" descr="Screenshot of Connect log-in screen.">
            <a:extLst>
              <a:ext uri="{FF2B5EF4-FFF2-40B4-BE49-F238E27FC236}">
                <a16:creationId xmlns:a16="http://schemas.microsoft.com/office/drawing/2014/main" id="{6E90F410-7F18-ACAC-32E0-8868114DB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742" y="2706007"/>
            <a:ext cx="4544182" cy="193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331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164A5-BAE6-A18A-F688-F7D7E698E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AC1F3-9D96-E4C4-9B95-BC5DFCFC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D513328-8A2D-0304-F37B-54BEE249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F4706BD-26AA-DDF7-2A05-C1F5B8961F9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B39872-7B94-0BB2-7DD9-ADA6A8E2629E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Always use your school email address when creating an account. 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tinu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Connect registration screen.">
            <a:extLst>
              <a:ext uri="{FF2B5EF4-FFF2-40B4-BE49-F238E27FC236}">
                <a16:creationId xmlns:a16="http://schemas.microsoft.com/office/drawing/2014/main" id="{F2121E59-ABD0-357A-77E9-38ADEA1904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5949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/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0EDA099-C906-B8E5-957B-8FA3E24AD1A4}"/>
              </a:ext>
            </a:extLst>
          </p:cNvPr>
          <p:cNvSpPr txBox="1">
            <a:spLocks/>
          </p:cNvSpPr>
          <p:nvPr/>
        </p:nvSpPr>
        <p:spPr>
          <a:xfrm>
            <a:off x="2357416" y="3553153"/>
            <a:ext cx="1590348" cy="353780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Arial"/>
                <a:cs typeface="Arial"/>
              </a:rPr>
              <a:t>Need new screenshot</a:t>
            </a:r>
            <a:endParaRPr lang="en-US"/>
          </a:p>
        </p:txBody>
      </p:sp>
      <p:pic>
        <p:nvPicPr>
          <p:cNvPr id="17" name="Picture 16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E824B36A-3EAB-FAC3-AFE9-9035BB5D66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077" y="1583585"/>
            <a:ext cx="6530219" cy="323200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2CD995-0289-B4EA-9FA6-A71E0C3ED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8257" y="2584025"/>
            <a:ext cx="2198853" cy="6976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05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206800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150559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1" y="283628"/>
            <a:ext cx="4793095" cy="331932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D2L Brightspace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D2L Brightspace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9FC072EF-4ADB-4056-F7B1-509677A32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1" y="283628"/>
            <a:ext cx="4793095" cy="331932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C88D81-2434-EA00-5CE9-7C040661D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1" y="2607904"/>
            <a:ext cx="9712641" cy="379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4BB71B4F-DE6C-D881-82CB-C24D985F6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1" y="283628"/>
            <a:ext cx="4793095" cy="331932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C295D3A7-2233-1023-5887-009E82A5F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1" y="283628"/>
            <a:ext cx="4793095" cy="331932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DF3A86-8B89-88C8-5653-488D37437088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A14813D8-8516-B152-639B-185399878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C19D2034-F5AD-8D54-D690-43C9FE083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1" y="283628"/>
            <a:ext cx="4793095" cy="331932"/>
          </a:xfrm>
        </p:spPr>
        <p:txBody>
          <a:bodyPr/>
          <a:lstStyle/>
          <a:p>
            <a:r>
              <a:rPr lang="en-US" dirty="0"/>
              <a:t>D2L Brightspace with Inclusive Access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200" dirty="0">
                <a:latin typeface="Arial"/>
                <a:cs typeface="Arial"/>
              </a:rPr>
              <a:t>Slides Available for the First Day of Class: Sharpen Companion, IA, D2L Brightspace</a:t>
            </a:r>
            <a:endParaRPr lang="en-US" sz="22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>
                <a:latin typeface="Arial"/>
                <a:cs typeface="Arial"/>
              </a:rPr>
              <a:t>McGraw Hill Connect and Sharpen</a:t>
            </a:r>
            <a:r>
              <a:rPr lang="en-US" sz="1400">
                <a:latin typeface="Arial"/>
                <a:cs typeface="Arial"/>
              </a:rPr>
              <a:t>:</a:t>
            </a:r>
            <a:endParaRPr lang="en-US" sz="1400" strike="sngStrike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and Sharpen Companion FDOC Slides 2 – 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Purchase Flows</a:t>
            </a:r>
            <a:endParaRPr lang="en-US" sz="140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IA: Connect with an LMS: D2L Brightspace Slides 10 – 14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Non-IA and IA: Connect with an LMS Slides 15 – 18</a:t>
            </a:r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28E1FE-E431-46CF-8935-C89083C41F97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1</TotalTime>
  <Words>1510</Words>
  <Application>Microsoft Macintosh PowerPoint</Application>
  <PresentationFormat>Widescreen</PresentationFormat>
  <Paragraphs>198</Paragraphs>
  <Slides>26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7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IA, D2L Brightspac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</vt:lpstr>
      <vt:lpstr>Sharpen Companion Purchase Flow IA Registration: Connect Integrated with a Learning Management System (LMS)  </vt:lpstr>
      <vt:lpstr>Accessing McGraw Hill Connect:  D2L Brightspace</vt:lpstr>
      <vt:lpstr>Step 2: </vt:lpstr>
      <vt:lpstr>Step 3: </vt:lpstr>
      <vt:lpstr>Step 4: 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7</cp:revision>
  <dcterms:created xsi:type="dcterms:W3CDTF">2023-07-10T01:20:11Z</dcterms:created>
  <dcterms:modified xsi:type="dcterms:W3CDTF">2025-05-28T21:0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